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sldIdLst>
    <p:sldId id="256" r:id="rId2"/>
    <p:sldId id="257" r:id="rId3"/>
    <p:sldId id="262" r:id="rId4"/>
    <p:sldId id="263" r:id="rId5"/>
    <p:sldId id="265" r:id="rId6"/>
    <p:sldId id="267" r:id="rId7"/>
    <p:sldId id="268" r:id="rId8"/>
    <p:sldId id="275" r:id="rId9"/>
    <p:sldId id="274" r:id="rId10"/>
  </p:sldIdLst>
  <p:sldSz cx="12192000" cy="6858000"/>
  <p:notesSz cx="6858000" cy="9144000"/>
  <p:custDataLst>
    <p:tags r:id="rId11"/>
  </p:custDataLst>
  <p:defaultTextStyle>
    <a:defPPr>
      <a:defRPr lang="en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20" y="3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9CA69-26BD-4610-95F9-33D9DDFE32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30ADA1E-82E1-409E-AC7A-6CBD13C895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CA9DBD-C44E-44F0-B87D-5F02E304BC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24D6-91C9-4321-BEE9-378E10B7A5D3}" type="datetimeFigureOut">
              <a:rPr lang="sv-SE" smtClean="0"/>
              <a:t>2021-10-13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5E0209-992D-4B3D-8D66-0DD1A040C4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4CBDFC-6DDC-4916-B712-2D148BC9B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9CFFAC-B1D6-4FC9-BA0D-6C3267E4570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87162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C4B31D-5C3D-4EBF-B054-0D44D70FC8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A7422AC-2616-4DA4-9904-96D371CD66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47B3AE-5212-41A1-9C6E-B6C0424B01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24D6-91C9-4321-BEE9-378E10B7A5D3}" type="datetimeFigureOut">
              <a:rPr lang="sv-SE" smtClean="0"/>
              <a:t>2021-10-13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225E40-4B9C-46C5-BB20-C5EE551AF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A0208A-B608-4A70-8628-F039848D5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9CFFAC-B1D6-4FC9-BA0D-6C3267E4570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912826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39CF61D-4481-40FD-952E-51E4921250D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678EF8-4853-4674-A2C1-D645D6D722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64C0E9-B51A-4D30-A586-86A9432A9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24D6-91C9-4321-BEE9-378E10B7A5D3}" type="datetimeFigureOut">
              <a:rPr lang="sv-SE" smtClean="0"/>
              <a:t>2021-10-13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F6C1D8-D761-41EC-A2FB-86C652DAE0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9DBFEF-A01B-4E9C-847B-C7159E559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9CFFAC-B1D6-4FC9-BA0D-6C3267E4570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432757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AA5CEC-7A2E-4738-AD3A-2CD0FF10EE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AF9B7B-638F-4C63-8D0D-CADCC39DC5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0095A2-5A95-4C7F-9022-39F6E44FD5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24D6-91C9-4321-BEE9-378E10B7A5D3}" type="datetimeFigureOut">
              <a:rPr lang="sv-SE" smtClean="0"/>
              <a:t>2021-10-13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84D54F-780D-4835-AADA-0937AC983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1BD5F-421C-441C-9449-F04A72A12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9CFFAC-B1D6-4FC9-BA0D-6C3267E4570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96246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F7ADDB-87C3-4426-AC06-3D6EF0F86C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1B7E44-3BF5-4E7F-9BAA-C0AC3A630E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4C9BF4-D11D-4D4A-B18F-1D9CA0BB7D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24D6-91C9-4321-BEE9-378E10B7A5D3}" type="datetimeFigureOut">
              <a:rPr lang="sv-SE" smtClean="0"/>
              <a:t>2021-10-13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57CE06-1D71-40F4-BFCE-50147B22F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C8F87E-FB5A-48C6-98D0-FFEAB8D00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9CFFAC-B1D6-4FC9-BA0D-6C3267E4570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67353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476EC-4298-4308-BB11-A43E7240C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F5BEBF-9912-4A76-8075-19A57665197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B8E33F-6D36-4C1D-A505-99ECC3B798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1B1890-D044-428E-A9CD-005674556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24D6-91C9-4321-BEE9-378E10B7A5D3}" type="datetimeFigureOut">
              <a:rPr lang="sv-SE" smtClean="0"/>
              <a:t>2021-10-13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797FE1-FB4B-413E-BF10-E9B45C2E2B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3FD006-AA32-49DA-8E8E-8D5FD4EBEF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9CFFAC-B1D6-4FC9-BA0D-6C3267E4570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519251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7F311-4944-408E-8FE5-77E37BE16D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2F8F9F-81A2-44D1-A711-AD36A31362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C58696-DD58-449A-ABA3-4FAD08A5E9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7DC88E-B29D-4657-AFEC-3F0B4A5630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9C74371-6B91-48BB-AFF2-FF8C5947A75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2FD1E80-0544-4C94-A18D-8DD1677346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24D6-91C9-4321-BEE9-378E10B7A5D3}" type="datetimeFigureOut">
              <a:rPr lang="sv-SE" smtClean="0"/>
              <a:t>2021-10-13</a:t>
            </a:fld>
            <a:endParaRPr lang="sv-S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92600B-6945-44DD-A683-805D95F709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B9AFDC6-F038-4C57-83B3-6EE6FD933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9CFFAC-B1D6-4FC9-BA0D-6C3267E4570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14896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4E4B9-57D1-4008-9467-BDA9BCC9E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61D7D9-0616-48BE-A586-41A9BACBE1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24D6-91C9-4321-BEE9-378E10B7A5D3}" type="datetimeFigureOut">
              <a:rPr lang="sv-SE" smtClean="0"/>
              <a:t>2021-10-13</a:t>
            </a:fld>
            <a:endParaRPr lang="sv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4BEE9A-9F3B-4D4F-A5EF-4460899626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F189F5-CFEF-4CAA-8DC0-CE8E6284A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9CFFAC-B1D6-4FC9-BA0D-6C3267E4570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131738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667FC7-8D9C-463D-BB1F-0EE2171996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24D6-91C9-4321-BEE9-378E10B7A5D3}" type="datetimeFigureOut">
              <a:rPr lang="sv-SE" smtClean="0"/>
              <a:t>2021-10-13</a:t>
            </a:fld>
            <a:endParaRPr lang="sv-S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9A7B88-C904-4F79-AF71-7C0A29834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2B93F9-8C8B-47CF-A5BA-EE84F4F32A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9CFFAC-B1D6-4FC9-BA0D-6C3267E4570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38841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0A0DEF-BFDF-4461-AA6D-1E6B0A07F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552ADD-18CD-4609-904D-0915A8EAA6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B7C534-3B89-4907-854C-F0403635B6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915A4B-301A-4700-979E-CB4E9C6C65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24D6-91C9-4321-BEE9-378E10B7A5D3}" type="datetimeFigureOut">
              <a:rPr lang="sv-SE" smtClean="0"/>
              <a:t>2021-10-13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E16058-DEC5-474B-A0EF-8CF8BC7E76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A6A9BF-E815-45B6-BE29-786E78A6C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9CFFAC-B1D6-4FC9-BA0D-6C3267E4570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238725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97D9B1-BDF4-4DA9-9CEC-DF97E950C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519FC9A-F5B4-41E7-ABB8-FDF9C113FB6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3B9F0F-5F48-4333-B91F-EA048FED64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97C156-6A44-4FA4-A17C-9CCD5C9EF4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BE24D6-91C9-4321-BEE9-378E10B7A5D3}" type="datetimeFigureOut">
              <a:rPr lang="sv-SE" smtClean="0"/>
              <a:t>2021-10-13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2EA4B0-2E46-4838-8970-C47E93EB6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913399-4482-4E57-8D22-F80203EA67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9CFFAC-B1D6-4FC9-BA0D-6C3267E4570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953230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B27DAA-B1C3-4FC2-A5C3-A4DBF43AC9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3189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6" imgW="408" imgH="408" progId="TCLayout.ActiveDocument.1">
                  <p:embed/>
                </p:oleObj>
              </mc:Choice>
              <mc:Fallback>
                <p:oleObj name="think-cell Slide" r:id="rId16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B27DAA-B1C3-4FC2-A5C3-A4DBF43AC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1C7D51D-E112-46CC-A3AE-B92488D59FC5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55BAB7-255A-4411-9B25-58443EDC6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1AE9F8-3A3E-416D-AA0C-2AC5C0528C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FDA5C8-DE9A-4BB2-B42D-49423224AA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BE24D6-91C9-4321-BEE9-378E10B7A5D3}" type="datetimeFigureOut">
              <a:rPr lang="sv-SE" smtClean="0"/>
              <a:t>2021-10-13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DFB3AB-EC2A-4D6E-808E-411E6CB230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B1A40A-B4D6-44D7-8CC6-84F323727D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9CFFAC-B1D6-4FC9-BA0D-6C3267E4570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37549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hyperlink" Target="mailto:kansli@karlstadinnebandy.se" TargetMode="Externa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2F6C474-C032-4A95-BCBB-B3AAC9D6A4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9984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2F6C474-C032-4A95-BCBB-B3AAC9D6A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4582072-2355-4DDC-BBF2-DDFCFDEABF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72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5E6EC9-D22F-4507-AF59-912AD9A064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-1147210"/>
            <a:ext cx="9144000" cy="2387600"/>
          </a:xfrm>
        </p:spPr>
        <p:txBody>
          <a:bodyPr>
            <a:normAutofit/>
          </a:bodyPr>
          <a:lstStyle/>
          <a:p>
            <a:r>
              <a:rPr lang="sv-SE" sz="7200" b="1" dirty="0">
                <a:solidFill>
                  <a:schemeClr val="bg1"/>
                </a:solidFill>
              </a:rPr>
              <a:t>Föräldramöte 2020/21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109F26B-BA4C-4173-9FDA-1E6344933D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189244"/>
            <a:ext cx="12192000" cy="675480"/>
          </a:xfrm>
          <a:prstGeom prst="rect">
            <a:avLst/>
          </a:prstGeom>
        </p:spPr>
      </p:pic>
      <p:sp>
        <p:nvSpPr>
          <p:cNvPr id="10" name="Subtitle 9">
            <a:extLst>
              <a:ext uri="{FF2B5EF4-FFF2-40B4-BE49-F238E27FC236}">
                <a16:creationId xmlns:a16="http://schemas.microsoft.com/office/drawing/2014/main" id="{536B9A0B-0DB8-408F-B250-F6A890ECF0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906545"/>
            <a:ext cx="9144000" cy="4730930"/>
          </a:xfrm>
        </p:spPr>
        <p:txBody>
          <a:bodyPr>
            <a:normAutofit/>
          </a:bodyPr>
          <a:lstStyle/>
          <a:p>
            <a:r>
              <a:rPr lang="sv-SE" sz="4800" dirty="0"/>
              <a:t>Föräldramöte 2021/2022</a:t>
            </a:r>
          </a:p>
          <a:p>
            <a:r>
              <a:rPr lang="sv-SE" sz="4800" dirty="0"/>
              <a:t>P11 Central</a:t>
            </a:r>
          </a:p>
        </p:txBody>
      </p:sp>
      <p:pic>
        <p:nvPicPr>
          <p:cNvPr id="2057" name="Picture 9" descr="Logotyper | Innebandy.se">
            <a:extLst>
              <a:ext uri="{FF2B5EF4-FFF2-40B4-BE49-F238E27FC236}">
                <a16:creationId xmlns:a16="http://schemas.microsoft.com/office/drawing/2014/main" id="{AF219ECF-C10A-422A-9402-1D51B403BF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1462" y="2896306"/>
            <a:ext cx="7622085" cy="2470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6622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A13CA1-69A3-4596-882C-74C2C4D1FF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0734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A13CA1-69A3-4596-882C-74C2C4D1FF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04107CC-8E50-4D8F-BA5D-A76AE5E6024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0FD3E1-7B8F-4325-8D9D-C04D0F5CE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DA64D3-EBC0-4218-B559-88F5593BEF8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676678"/>
          </a:xfrm>
        </p:spPr>
        <p:txBody>
          <a:bodyPr>
            <a:normAutofit/>
          </a:bodyPr>
          <a:lstStyle/>
          <a:p>
            <a:r>
              <a:rPr lang="sv-SE" dirty="0"/>
              <a:t>Ledarpresentation</a:t>
            </a:r>
          </a:p>
          <a:p>
            <a:r>
              <a:rPr lang="sv-SE" dirty="0"/>
              <a:t>Föreningen</a:t>
            </a:r>
          </a:p>
          <a:p>
            <a:r>
              <a:rPr lang="sv-SE" dirty="0"/>
              <a:t>Föräldraansvar i föreningen</a:t>
            </a:r>
          </a:p>
          <a:p>
            <a:r>
              <a:rPr lang="sv-SE" dirty="0"/>
              <a:t>Medlemsavgifter</a:t>
            </a:r>
          </a:p>
          <a:p>
            <a:r>
              <a:rPr lang="sv-SE" dirty="0"/>
              <a:t>Truppen</a:t>
            </a:r>
          </a:p>
          <a:p>
            <a:r>
              <a:rPr lang="sv-SE" dirty="0"/>
              <a:t>Träningar</a:t>
            </a:r>
          </a:p>
          <a:p>
            <a:r>
              <a:rPr lang="sv-SE" dirty="0"/>
              <a:t>Matcher och cup</a:t>
            </a:r>
          </a:p>
          <a:p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A582C74-07C9-431E-8030-59B70BE051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189244"/>
            <a:ext cx="12192000" cy="675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663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B35382E-DD5C-415D-9AB0-F76F991745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481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B35382E-DD5C-415D-9AB0-F76F991745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82C9E82-002B-45A5-B7FF-CF18284D5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Ledarpresentation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40CCCF2-6A0E-4443-872D-4C1FEC179D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Fredrik </a:t>
            </a:r>
            <a:r>
              <a:rPr lang="sv-SE" dirty="0" err="1"/>
              <a:t>Appel</a:t>
            </a:r>
            <a:r>
              <a:rPr lang="sv-SE" dirty="0"/>
              <a:t> (Tränare)</a:t>
            </a:r>
          </a:p>
          <a:p>
            <a:r>
              <a:rPr lang="sv-SE" dirty="0"/>
              <a:t>Erik Nilsson (Tränare)</a:t>
            </a:r>
          </a:p>
          <a:p>
            <a:r>
              <a:rPr lang="sv-SE" dirty="0"/>
              <a:t>Jon Hagman (Tränare)</a:t>
            </a:r>
          </a:p>
          <a:p>
            <a:r>
              <a:rPr lang="sv-SE" dirty="0"/>
              <a:t>Christer Olsson (Administration &amp; hemsida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6C78B3-6163-4044-B2DF-7F794A5B52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189244"/>
            <a:ext cx="12192000" cy="675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7416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B35382E-DD5C-415D-9AB0-F76F991745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9999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B35382E-DD5C-415D-9AB0-F76F991745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C50F04-B6A3-46E9-ACF2-21714672737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82C9E82-002B-45A5-B7FF-CF18284D5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illsammans är vi Karlstad Innebandy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40CCCF2-6A0E-4443-872D-4C1FEC179D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sv-SE" b="1" dirty="0"/>
              <a:t>Föreningen</a:t>
            </a:r>
          </a:p>
          <a:p>
            <a:r>
              <a:rPr lang="sv-SE" dirty="0"/>
              <a:t>Karlstad Innebandy består av 3 föreningar, Karlstad IBF, Karlstad IBF Ungdom och Karlstad IBF Bredd. Verksamhet bedrivs i stor utsträckning gemensamt i alla föreningar och spelarna tillhör de olika föreningarna beroende på ålder och spelinriktning.</a:t>
            </a:r>
          </a:p>
          <a:p>
            <a:endParaRPr lang="sv-SE" dirty="0"/>
          </a:p>
          <a:p>
            <a:pPr marL="0" indent="0">
              <a:buNone/>
            </a:pPr>
            <a:r>
              <a:rPr lang="sv-SE" b="1" dirty="0"/>
              <a:t>Föreningens policy</a:t>
            </a:r>
          </a:p>
          <a:p>
            <a:r>
              <a:rPr lang="sv-SE" dirty="0"/>
              <a:t>Alla som företräder Karlstad IBF; ledare, spelare, föräldrar, funktionärer, uppträder i enlighet med föreningens policy som finns att läsa i sin helhet på vår hemsida under fliken dokument. Ta del av den. </a:t>
            </a:r>
          </a:p>
          <a:p>
            <a:r>
              <a:rPr lang="sv-SE" dirty="0"/>
              <a:t>Föreningens barn- och ungdomspolicy kan sammanfattas med ledorden glädje, gemenskap, ansträngning och lärande. Vår uppgift som ledare i föreningen är att ge barn och ungdomar möjligheten att utöva innebandy utifrån sina egna villkor. Policyn finns i sin helhet under föreningens policydokument på laget.se</a:t>
            </a:r>
          </a:p>
          <a:p>
            <a:endParaRPr lang="sv-S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6C78B3-6163-4044-B2DF-7F794A5B52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189244"/>
            <a:ext cx="12192000" cy="675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088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B35382E-DD5C-415D-9AB0-F76F991745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9220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B35382E-DD5C-415D-9AB0-F76F991745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4DA09A-6C2E-45BF-93B3-12427B65E6E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82C9E82-002B-45A5-B7FF-CF18284D5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öräldraansvar i föreningen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40CCCF2-6A0E-4443-872D-4C1FEC179D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153756"/>
          </a:xfrm>
        </p:spPr>
        <p:txBody>
          <a:bodyPr>
            <a:normAutofit fontScale="92500" lnSpcReduction="20000"/>
          </a:bodyPr>
          <a:lstStyle/>
          <a:p>
            <a:r>
              <a:rPr lang="sv-SE" dirty="0"/>
              <a:t>Alla ska läsa policyn</a:t>
            </a:r>
          </a:p>
          <a:p>
            <a:r>
              <a:rPr lang="sv-SE" dirty="0"/>
              <a:t>Föreningsförsäljning</a:t>
            </a:r>
          </a:p>
          <a:p>
            <a:pPr lvl="1"/>
            <a:r>
              <a:rPr lang="sv-SE" dirty="0"/>
              <a:t>Dreamstar 2 omgångar (höst &amp; vår)</a:t>
            </a:r>
          </a:p>
          <a:p>
            <a:pPr lvl="1"/>
            <a:r>
              <a:rPr lang="sv-SE" dirty="0"/>
              <a:t>Bingolotto uppesittarkväll frivilligt</a:t>
            </a:r>
          </a:p>
          <a:p>
            <a:r>
              <a:rPr lang="sv-SE" dirty="0"/>
              <a:t>Sarghjälp på tisdagsträningen</a:t>
            </a:r>
          </a:p>
          <a:p>
            <a:pPr lvl="1"/>
            <a:r>
              <a:rPr lang="sv-SE" dirty="0"/>
              <a:t>När man lämnar hjälps vi åt att bygga upp sargen för att inte det ska ta tid av träningen</a:t>
            </a:r>
          </a:p>
          <a:p>
            <a:pPr lvl="1"/>
            <a:r>
              <a:rPr lang="sv-SE" dirty="0"/>
              <a:t>När man hämtar behövs hjälp att ta ner halva sargen</a:t>
            </a:r>
          </a:p>
          <a:p>
            <a:r>
              <a:rPr lang="sv-SE" dirty="0"/>
              <a:t>Sekretariatet på hemmamatcher (se schema under ”Dokument”)</a:t>
            </a:r>
          </a:p>
          <a:p>
            <a:pPr lvl="1"/>
            <a:r>
              <a:rPr lang="sv-SE" dirty="0"/>
              <a:t>Om ens barn inte spelar eller man har förhinder just sin match byter man med någon, kontaktuppgifter finns i samma fil.</a:t>
            </a:r>
          </a:p>
          <a:p>
            <a:r>
              <a:rPr lang="sv-SE" dirty="0"/>
              <a:t>Kioskbemanning (inget i år, men med stor sannolikhet nästa år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6C78B3-6163-4044-B2DF-7F794A5B52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189244"/>
            <a:ext cx="12192000" cy="675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2251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B35382E-DD5C-415D-9AB0-F76F991745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3763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B35382E-DD5C-415D-9AB0-F76F991745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82C9E82-002B-45A5-B7FF-CF18284D5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Medlemsavgifter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40CCCF2-6A0E-4443-872D-4C1FEC179D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1299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b="1" dirty="0"/>
              <a:t>Spelare födda 2011-2014 </a:t>
            </a:r>
            <a:endParaRPr lang="sv-SE" dirty="0"/>
          </a:p>
          <a:p>
            <a:r>
              <a:rPr lang="sv-SE" dirty="0"/>
              <a:t>Medlemsavgift 600 kr – Träningsavgift 350 kr = 950 kr</a:t>
            </a:r>
          </a:p>
          <a:p>
            <a:endParaRPr lang="sv-SE" dirty="0"/>
          </a:p>
          <a:p>
            <a:pPr marL="0" indent="0">
              <a:buNone/>
            </a:pPr>
            <a:r>
              <a:rPr lang="sv-SE" b="1" dirty="0"/>
              <a:t>Familjerabatt</a:t>
            </a:r>
            <a:endParaRPr lang="sv-SE" dirty="0"/>
          </a:p>
          <a:p>
            <a:r>
              <a:rPr lang="sv-SE" dirty="0"/>
              <a:t>300 kr avdrag på träningsavgift fr.o.m. barn nummer 2. För att omfattas av syskonrabatt skall detta meddelas Karlstad IBF kansli via </a:t>
            </a:r>
            <a:r>
              <a:rPr lang="sv-SE" u="sng" dirty="0">
                <a:hlinkClick r:id="rId6"/>
              </a:rPr>
              <a:t>kansli@karlstadinnebandy.se</a:t>
            </a:r>
            <a:r>
              <a:rPr lang="sv-SE" dirty="0"/>
              <a:t> innan sista betalningsdag på aktuell faktura för medlems och träningsavgift</a:t>
            </a:r>
          </a:p>
          <a:p>
            <a:endParaRPr lang="sv-S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6C78B3-6163-4044-B2DF-7F794A5B52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189244"/>
            <a:ext cx="12192000" cy="675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9923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B35382E-DD5C-415D-9AB0-F76F991745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64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B35382E-DD5C-415D-9AB0-F76F991745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82C9E82-002B-45A5-B7FF-CF18284D5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ruppen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40CCCF2-6A0E-4443-872D-4C1FEC179D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2118222"/>
          </a:xfrm>
        </p:spPr>
        <p:txBody>
          <a:bodyPr>
            <a:normAutofit/>
          </a:bodyPr>
          <a:lstStyle/>
          <a:p>
            <a:r>
              <a:rPr lang="sv-SE" dirty="0"/>
              <a:t>19 spelare – finns plats 1-2 spelare till om man vet någon</a:t>
            </a:r>
          </a:p>
          <a:p>
            <a:r>
              <a:rPr lang="sv-SE" dirty="0"/>
              <a:t>3 träna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6C78B3-6163-4044-B2DF-7F794A5B52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189244"/>
            <a:ext cx="12192000" cy="675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9886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B35382E-DD5C-415D-9AB0-F76F991745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152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B35382E-DD5C-415D-9AB0-F76F991745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82C9E82-002B-45A5-B7FF-CF18284D5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dirty="0"/>
              <a:t>Träningar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40CCCF2-6A0E-4443-872D-4C1FEC179D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249172"/>
          </a:xfrm>
        </p:spPr>
        <p:txBody>
          <a:bodyPr>
            <a:normAutofit/>
          </a:bodyPr>
          <a:lstStyle/>
          <a:p>
            <a:r>
              <a:rPr lang="sv-SE" dirty="0"/>
              <a:t>Två stycken träningar i veckan. Svara på kallelserna!</a:t>
            </a:r>
          </a:p>
          <a:p>
            <a:pPr lvl="1"/>
            <a:r>
              <a:rPr lang="sv-SE" dirty="0"/>
              <a:t>Tisdag 17-18, Mariebergshallen</a:t>
            </a:r>
          </a:p>
          <a:p>
            <a:pPr lvl="1"/>
            <a:r>
              <a:rPr lang="sv-SE" dirty="0"/>
              <a:t>Torsdag 18-19, Frödingskolan</a:t>
            </a:r>
          </a:p>
          <a:p>
            <a:r>
              <a:rPr lang="sv-SE" dirty="0"/>
              <a:t>Fokus på träning</a:t>
            </a:r>
          </a:p>
          <a:p>
            <a:pPr lvl="1"/>
            <a:r>
              <a:rPr lang="sv-SE" dirty="0"/>
              <a:t>En del övningar men mycket spel.</a:t>
            </a:r>
          </a:p>
          <a:p>
            <a:pPr lvl="1"/>
            <a:r>
              <a:rPr lang="sv-SE" dirty="0"/>
              <a:t>När vi är på innebandyträning så fokuserar vi på det.</a:t>
            </a:r>
          </a:p>
          <a:p>
            <a:pPr lvl="1"/>
            <a:r>
              <a:rPr lang="sv-SE" dirty="0"/>
              <a:t>Prata med killarna om träningarna hemma, viktigt att alla känner sig trygga och har kul!</a:t>
            </a:r>
          </a:p>
          <a:p>
            <a:pPr lvl="1"/>
            <a:endParaRPr lang="sv-S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6C78B3-6163-4044-B2DF-7F794A5B52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189244"/>
            <a:ext cx="12192000" cy="675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3585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B35382E-DD5C-415D-9AB0-F76F991745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8376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B35382E-DD5C-415D-9AB0-F76F991745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82C9E82-002B-45A5-B7FF-CF18284D5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dirty="0"/>
              <a:t>Matcher &amp; cup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36C78B3-6163-4044-B2DF-7F794A5B52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189244"/>
            <a:ext cx="12192000" cy="675480"/>
          </a:xfrm>
          <a:prstGeom prst="rect">
            <a:avLst/>
          </a:prstGeom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B14E088-470E-4EA5-957E-17C0C8E2DB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Matcher</a:t>
            </a:r>
          </a:p>
          <a:p>
            <a:pPr lvl="1"/>
            <a:r>
              <a:rPr lang="sv-SE" dirty="0"/>
              <a:t>Finns i kalendern på hemsidan, kallelser kommer ungefär en vecka innan.</a:t>
            </a:r>
          </a:p>
          <a:p>
            <a:pPr lvl="1"/>
            <a:r>
              <a:rPr lang="sv-SE" dirty="0"/>
              <a:t>Om det är många anmälda kan inte alla spela match, urval sker efter träningsnärvaro.</a:t>
            </a:r>
          </a:p>
          <a:p>
            <a:pPr lvl="1"/>
            <a:r>
              <a:rPr lang="sv-SE" dirty="0"/>
              <a:t>Vi kommer inte åka med fler än 14 spelare (9 forwards, 4 backar och 1 målvakt) till match.</a:t>
            </a:r>
          </a:p>
          <a:p>
            <a:endParaRPr lang="sv-SE" dirty="0"/>
          </a:p>
          <a:p>
            <a:r>
              <a:rPr lang="sv-SE" dirty="0"/>
              <a:t>Cup</a:t>
            </a:r>
          </a:p>
          <a:p>
            <a:pPr lvl="1"/>
            <a:r>
              <a:rPr lang="sv-SE" dirty="0"/>
              <a:t>Vår förhoppning är att vi skall kunna delta i minst en cup denna säsong.</a:t>
            </a:r>
          </a:p>
          <a:p>
            <a:pPr lvl="1"/>
            <a:endParaRPr lang="sv-SE" dirty="0"/>
          </a:p>
          <a:p>
            <a:pPr lvl="1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747308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l.KiPKvwXNUePRaZ4t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xLe7rv2U7B2kGAzzt3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lq9JWSkkv3Amaiaa.d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0RVoRZ_LMB2362BVSg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wLa5TI.dv4PLdza0_i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11</TotalTime>
  <Words>473</Words>
  <Application>Microsoft Office PowerPoint</Application>
  <PresentationFormat>Bredbild</PresentationFormat>
  <Paragraphs>59</Paragraphs>
  <Slides>9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Office Theme</vt:lpstr>
      <vt:lpstr>think-cell Slide</vt:lpstr>
      <vt:lpstr>Föräldramöte 2020/21</vt:lpstr>
      <vt:lpstr>Agenda</vt:lpstr>
      <vt:lpstr>Ledarpresentation</vt:lpstr>
      <vt:lpstr>Tillsammans är vi Karlstad Innebandy</vt:lpstr>
      <vt:lpstr>Föräldraansvar i föreningen</vt:lpstr>
      <vt:lpstr>Medlemsavgifter</vt:lpstr>
      <vt:lpstr>Truppen</vt:lpstr>
      <vt:lpstr>Träningar</vt:lpstr>
      <vt:lpstr>Matcher &amp; cu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ptaktsdag 2020/21</dc:title>
  <dc:creator>Simon Holmgren</dc:creator>
  <cp:lastModifiedBy>Christer Olsson</cp:lastModifiedBy>
  <cp:revision>9</cp:revision>
  <dcterms:created xsi:type="dcterms:W3CDTF">2020-10-06T06:09:45Z</dcterms:created>
  <dcterms:modified xsi:type="dcterms:W3CDTF">2021-10-13T09:08:42Z</dcterms:modified>
</cp:coreProperties>
</file>